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6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7380EAF-7C93-B404-DB89-CBA1806ED5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380EAF-7C93-B404-DB89-CBA1806ED5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A7334E-E9BF-A8DD-76D1-92C9AE271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770FE7-0D15-DA66-CD94-BB34BED5E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2 Factors</a:t>
            </a:r>
          </a:p>
        </p:txBody>
      </p:sp>
      <p:sp>
        <p:nvSpPr>
          <p:cNvPr id="6" name="Oval 66">
            <a:extLst>
              <a:ext uri="{FF2B5EF4-FFF2-40B4-BE49-F238E27FC236}">
                <a16:creationId xmlns:a16="http://schemas.microsoft.com/office/drawing/2014/main" id="{2B7E5E8C-8006-B536-05B7-D28672D37B22}"/>
              </a:ext>
            </a:extLst>
          </p:cNvPr>
          <p:cNvSpPr>
            <a:spLocks noChangeArrowheads="1"/>
          </p:cNvSpPr>
          <p:nvPr/>
        </p:nvSpPr>
        <p:spPr bwMode="auto">
          <a:xfrm flipH="1" flipV="1">
            <a:off x="4352210" y="1394661"/>
            <a:ext cx="3487579" cy="348474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A7CA3B1-22A5-02F4-31F4-90815A0CDBEC}"/>
              </a:ext>
            </a:extLst>
          </p:cNvPr>
          <p:cNvSpPr txBox="1">
            <a:spLocks/>
          </p:cNvSpPr>
          <p:nvPr/>
        </p:nvSpPr>
        <p:spPr>
          <a:xfrm flipH="1">
            <a:off x="5211753" y="3224293"/>
            <a:ext cx="1877768" cy="424732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000" b="1" dirty="0">
                <a:latin typeface="Open Sans ExtraBold" charset="0"/>
                <a:ea typeface="Open Sans ExtraBold" charset="0"/>
                <a:cs typeface="Open Sans ExtraBold" charset="0"/>
              </a:rPr>
              <a:t>INSERT</a:t>
            </a:r>
            <a:r>
              <a:rPr lang="en-IN" sz="2000" b="1" dirty="0"/>
              <a:t> </a:t>
            </a:r>
            <a:r>
              <a:rPr lang="en-IN" sz="2400" dirty="0">
                <a:latin typeface="+mn-lt"/>
              </a:rPr>
              <a:t>TITLE</a:t>
            </a:r>
          </a:p>
        </p:txBody>
      </p:sp>
      <p:sp>
        <p:nvSpPr>
          <p:cNvPr id="8" name="Freeform 70">
            <a:extLst>
              <a:ext uri="{FF2B5EF4-FFF2-40B4-BE49-F238E27FC236}">
                <a16:creationId xmlns:a16="http://schemas.microsoft.com/office/drawing/2014/main" id="{8530578D-C539-2864-1461-3DC0C2E0C48E}"/>
              </a:ext>
            </a:extLst>
          </p:cNvPr>
          <p:cNvSpPr>
            <a:spLocks/>
          </p:cNvSpPr>
          <p:nvPr/>
        </p:nvSpPr>
        <p:spPr bwMode="auto">
          <a:xfrm rot="19982124" flipH="1" flipV="1">
            <a:off x="4419624" y="1821061"/>
            <a:ext cx="636936" cy="433116"/>
          </a:xfrm>
          <a:custGeom>
            <a:avLst/>
            <a:gdLst>
              <a:gd name="T0" fmla="*/ 0 w 100"/>
              <a:gd name="T1" fmla="*/ 48 h 68"/>
              <a:gd name="T2" fmla="*/ 4 w 100"/>
              <a:gd name="T3" fmla="*/ 51 h 68"/>
              <a:gd name="T4" fmla="*/ 92 w 100"/>
              <a:gd name="T5" fmla="*/ 27 h 68"/>
              <a:gd name="T6" fmla="*/ 100 w 100"/>
              <a:gd name="T7" fmla="*/ 0 h 68"/>
              <a:gd name="T8" fmla="*/ 0 w 100"/>
              <a:gd name="T9" fmla="*/ 4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68">
                <a:moveTo>
                  <a:pt x="0" y="48"/>
                </a:moveTo>
                <a:cubicBezTo>
                  <a:pt x="1" y="48"/>
                  <a:pt x="3" y="50"/>
                  <a:pt x="4" y="51"/>
                </a:cubicBezTo>
                <a:cubicBezTo>
                  <a:pt x="35" y="68"/>
                  <a:pt x="74" y="58"/>
                  <a:pt x="92" y="27"/>
                </a:cubicBezTo>
                <a:cubicBezTo>
                  <a:pt x="97" y="18"/>
                  <a:pt x="100" y="9"/>
                  <a:pt x="100" y="0"/>
                </a:cubicBezTo>
                <a:cubicBezTo>
                  <a:pt x="70" y="23"/>
                  <a:pt x="36" y="39"/>
                  <a:pt x="0" y="48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9" name="Freeform 71">
            <a:extLst>
              <a:ext uri="{FF2B5EF4-FFF2-40B4-BE49-F238E27FC236}">
                <a16:creationId xmlns:a16="http://schemas.microsoft.com/office/drawing/2014/main" id="{2007AA19-703D-93C5-14AE-C80B5A48B634}"/>
              </a:ext>
            </a:extLst>
          </p:cNvPr>
          <p:cNvSpPr>
            <a:spLocks/>
          </p:cNvSpPr>
          <p:nvPr/>
        </p:nvSpPr>
        <p:spPr bwMode="auto">
          <a:xfrm rot="19982124" flipH="1" flipV="1">
            <a:off x="3965620" y="2075546"/>
            <a:ext cx="1358797" cy="1824467"/>
          </a:xfrm>
          <a:custGeom>
            <a:avLst/>
            <a:gdLst>
              <a:gd name="T0" fmla="*/ 170 w 213"/>
              <a:gd name="T1" fmla="*/ 167 h 286"/>
              <a:gd name="T2" fmla="*/ 210 w 213"/>
              <a:gd name="T3" fmla="*/ 0 h 286"/>
              <a:gd name="T4" fmla="*/ 202 w 213"/>
              <a:gd name="T5" fmla="*/ 31 h 286"/>
              <a:gd name="T6" fmla="*/ 201 w 213"/>
              <a:gd name="T7" fmla="*/ 32 h 286"/>
              <a:gd name="T8" fmla="*/ 181 w 213"/>
              <a:gd name="T9" fmla="*/ 53 h 286"/>
              <a:gd name="T10" fmla="*/ 113 w 213"/>
              <a:gd name="T11" fmla="*/ 55 h 286"/>
              <a:gd name="T12" fmla="*/ 19 w 213"/>
              <a:gd name="T13" fmla="*/ 80 h 286"/>
              <a:gd name="T14" fmla="*/ 44 w 213"/>
              <a:gd name="T15" fmla="*/ 174 h 286"/>
              <a:gd name="T16" fmla="*/ 76 w 213"/>
              <a:gd name="T17" fmla="*/ 234 h 286"/>
              <a:gd name="T18" fmla="*/ 68 w 213"/>
              <a:gd name="T19" fmla="*/ 262 h 286"/>
              <a:gd name="T20" fmla="*/ 67 w 213"/>
              <a:gd name="T21" fmla="*/ 263 h 286"/>
              <a:gd name="T22" fmla="*/ 45 w 213"/>
              <a:gd name="T23" fmla="*/ 286 h 286"/>
              <a:gd name="T24" fmla="*/ 170 w 213"/>
              <a:gd name="T25" fmla="*/ 167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3" h="286">
                <a:moveTo>
                  <a:pt x="170" y="167"/>
                </a:moveTo>
                <a:cubicBezTo>
                  <a:pt x="200" y="115"/>
                  <a:pt x="213" y="56"/>
                  <a:pt x="210" y="0"/>
                </a:cubicBezTo>
                <a:cubicBezTo>
                  <a:pt x="210" y="10"/>
                  <a:pt x="207" y="21"/>
                  <a:pt x="202" y="31"/>
                </a:cubicBezTo>
                <a:cubicBezTo>
                  <a:pt x="201" y="31"/>
                  <a:pt x="201" y="31"/>
                  <a:pt x="201" y="32"/>
                </a:cubicBezTo>
                <a:cubicBezTo>
                  <a:pt x="196" y="41"/>
                  <a:pt x="189" y="48"/>
                  <a:pt x="181" y="53"/>
                </a:cubicBezTo>
                <a:cubicBezTo>
                  <a:pt x="161" y="66"/>
                  <a:pt x="135" y="68"/>
                  <a:pt x="113" y="55"/>
                </a:cubicBezTo>
                <a:cubicBezTo>
                  <a:pt x="80" y="36"/>
                  <a:pt x="38" y="48"/>
                  <a:pt x="19" y="80"/>
                </a:cubicBezTo>
                <a:cubicBezTo>
                  <a:pt x="0" y="113"/>
                  <a:pt x="12" y="155"/>
                  <a:pt x="44" y="174"/>
                </a:cubicBezTo>
                <a:cubicBezTo>
                  <a:pt x="66" y="187"/>
                  <a:pt x="78" y="211"/>
                  <a:pt x="76" y="234"/>
                </a:cubicBezTo>
                <a:cubicBezTo>
                  <a:pt x="76" y="244"/>
                  <a:pt x="73" y="253"/>
                  <a:pt x="68" y="262"/>
                </a:cubicBezTo>
                <a:cubicBezTo>
                  <a:pt x="68" y="262"/>
                  <a:pt x="68" y="263"/>
                  <a:pt x="67" y="263"/>
                </a:cubicBezTo>
                <a:cubicBezTo>
                  <a:pt x="61" y="273"/>
                  <a:pt x="54" y="280"/>
                  <a:pt x="45" y="286"/>
                </a:cubicBezTo>
                <a:cubicBezTo>
                  <a:pt x="95" y="260"/>
                  <a:pt x="139" y="220"/>
                  <a:pt x="170" y="1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10" name="Freeform 72">
            <a:extLst>
              <a:ext uri="{FF2B5EF4-FFF2-40B4-BE49-F238E27FC236}">
                <a16:creationId xmlns:a16="http://schemas.microsoft.com/office/drawing/2014/main" id="{2182B27C-6B41-68A1-6C85-6BC9DCC5BD62}"/>
              </a:ext>
            </a:extLst>
          </p:cNvPr>
          <p:cNvSpPr>
            <a:spLocks/>
          </p:cNvSpPr>
          <p:nvPr/>
        </p:nvSpPr>
        <p:spPr bwMode="auto">
          <a:xfrm rot="19982124" flipH="1" flipV="1">
            <a:off x="4410439" y="3719435"/>
            <a:ext cx="294406" cy="709122"/>
          </a:xfrm>
          <a:custGeom>
            <a:avLst/>
            <a:gdLst>
              <a:gd name="T0" fmla="*/ 8 w 46"/>
              <a:gd name="T1" fmla="*/ 111 h 111"/>
              <a:gd name="T2" fmla="*/ 28 w 46"/>
              <a:gd name="T3" fmla="*/ 90 h 111"/>
              <a:gd name="T4" fmla="*/ 4 w 46"/>
              <a:gd name="T5" fmla="*/ 2 h 111"/>
              <a:gd name="T6" fmla="*/ 0 w 46"/>
              <a:gd name="T7" fmla="*/ 0 h 111"/>
              <a:gd name="T8" fmla="*/ 8 w 46"/>
              <a:gd name="T9" fmla="*/ 11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" h="111">
                <a:moveTo>
                  <a:pt x="8" y="111"/>
                </a:moveTo>
                <a:cubicBezTo>
                  <a:pt x="16" y="106"/>
                  <a:pt x="23" y="99"/>
                  <a:pt x="28" y="90"/>
                </a:cubicBezTo>
                <a:cubicBezTo>
                  <a:pt x="46" y="59"/>
                  <a:pt x="35" y="20"/>
                  <a:pt x="4" y="2"/>
                </a:cubicBezTo>
                <a:cubicBezTo>
                  <a:pt x="3" y="1"/>
                  <a:pt x="1" y="0"/>
                  <a:pt x="0" y="0"/>
                </a:cubicBezTo>
                <a:cubicBezTo>
                  <a:pt x="10" y="35"/>
                  <a:pt x="13" y="73"/>
                  <a:pt x="8" y="111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603F682-B512-212F-D270-3859C7652690}"/>
              </a:ext>
            </a:extLst>
          </p:cNvPr>
          <p:cNvGrpSpPr>
            <a:grpSpLocks noChangeAspect="1"/>
          </p:cNvGrpSpPr>
          <p:nvPr/>
        </p:nvGrpSpPr>
        <p:grpSpPr>
          <a:xfrm>
            <a:off x="4755779" y="2836730"/>
            <a:ext cx="335477" cy="535405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2" name="Freeform 21">
              <a:extLst>
                <a:ext uri="{FF2B5EF4-FFF2-40B4-BE49-F238E27FC236}">
                  <a16:creationId xmlns:a16="http://schemas.microsoft.com/office/drawing/2014/main" id="{1B331122-78FD-3F74-7971-C31AC7BF54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13" name="Freeform 22">
              <a:extLst>
                <a:ext uri="{FF2B5EF4-FFF2-40B4-BE49-F238E27FC236}">
                  <a16:creationId xmlns:a16="http://schemas.microsoft.com/office/drawing/2014/main" id="{C68680C4-04E0-A980-51AD-542ADFFBA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sp>
        <p:nvSpPr>
          <p:cNvPr id="14" name="Freeform 23">
            <a:extLst>
              <a:ext uri="{FF2B5EF4-FFF2-40B4-BE49-F238E27FC236}">
                <a16:creationId xmlns:a16="http://schemas.microsoft.com/office/drawing/2014/main" id="{168C61BD-24E1-D721-170F-86D60A4238A4}"/>
              </a:ext>
            </a:extLst>
          </p:cNvPr>
          <p:cNvSpPr>
            <a:spLocks noEditPoints="1"/>
          </p:cNvSpPr>
          <p:nvPr/>
        </p:nvSpPr>
        <p:spPr bwMode="auto">
          <a:xfrm>
            <a:off x="5841910" y="2388042"/>
            <a:ext cx="697773" cy="617945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15" name="Shape1_20180321_204814">
            <a:extLst>
              <a:ext uri="{FF2B5EF4-FFF2-40B4-BE49-F238E27FC236}">
                <a16:creationId xmlns:a16="http://schemas.microsoft.com/office/drawing/2014/main" id="{2DEA651D-B38E-A587-34AA-438FD3247C1D}"/>
              </a:ext>
            </a:extLst>
          </p:cNvPr>
          <p:cNvSpPr txBox="1">
            <a:spLocks/>
          </p:cNvSpPr>
          <p:nvPr/>
        </p:nvSpPr>
        <p:spPr>
          <a:xfrm>
            <a:off x="8217984" y="2567025"/>
            <a:ext cx="2870930" cy="110799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24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2000" b="1" dirty="0">
                <a:solidFill>
                  <a:schemeClr val="tx1"/>
                </a:solidFill>
                <a:latin typeface="+mj-lt"/>
              </a:rPr>
            </a:br>
            <a:r>
              <a:rPr lang="en-US" sz="16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6" name="Shape1_20180321_204814">
            <a:extLst>
              <a:ext uri="{FF2B5EF4-FFF2-40B4-BE49-F238E27FC236}">
                <a16:creationId xmlns:a16="http://schemas.microsoft.com/office/drawing/2014/main" id="{1D63ECDC-610C-50D0-7F28-B79B60AB0D35}"/>
              </a:ext>
            </a:extLst>
          </p:cNvPr>
          <p:cNvSpPr txBox="1">
            <a:spLocks/>
          </p:cNvSpPr>
          <p:nvPr/>
        </p:nvSpPr>
        <p:spPr>
          <a:xfrm>
            <a:off x="1139784" y="2567025"/>
            <a:ext cx="2834233" cy="110799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24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2000" b="1" dirty="0">
                <a:solidFill>
                  <a:schemeClr val="tx1"/>
                </a:solidFill>
                <a:latin typeface="+mj-lt"/>
              </a:rPr>
            </a:br>
            <a:r>
              <a:rPr lang="en-US" sz="16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7" name="Freeform 70">
            <a:extLst>
              <a:ext uri="{FF2B5EF4-FFF2-40B4-BE49-F238E27FC236}">
                <a16:creationId xmlns:a16="http://schemas.microsoft.com/office/drawing/2014/main" id="{BAF63356-8626-66CD-3D1B-F2BD32628E86}"/>
              </a:ext>
            </a:extLst>
          </p:cNvPr>
          <p:cNvSpPr>
            <a:spLocks/>
          </p:cNvSpPr>
          <p:nvPr/>
        </p:nvSpPr>
        <p:spPr bwMode="auto">
          <a:xfrm rot="1617876" flipV="1">
            <a:off x="7168566" y="1821061"/>
            <a:ext cx="636936" cy="433116"/>
          </a:xfrm>
          <a:custGeom>
            <a:avLst/>
            <a:gdLst>
              <a:gd name="T0" fmla="*/ 0 w 100"/>
              <a:gd name="T1" fmla="*/ 48 h 68"/>
              <a:gd name="T2" fmla="*/ 4 w 100"/>
              <a:gd name="T3" fmla="*/ 51 h 68"/>
              <a:gd name="T4" fmla="*/ 92 w 100"/>
              <a:gd name="T5" fmla="*/ 27 h 68"/>
              <a:gd name="T6" fmla="*/ 100 w 100"/>
              <a:gd name="T7" fmla="*/ 0 h 68"/>
              <a:gd name="T8" fmla="*/ 0 w 100"/>
              <a:gd name="T9" fmla="*/ 4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68">
                <a:moveTo>
                  <a:pt x="0" y="48"/>
                </a:moveTo>
                <a:cubicBezTo>
                  <a:pt x="1" y="48"/>
                  <a:pt x="3" y="50"/>
                  <a:pt x="4" y="51"/>
                </a:cubicBezTo>
                <a:cubicBezTo>
                  <a:pt x="35" y="68"/>
                  <a:pt x="74" y="58"/>
                  <a:pt x="92" y="27"/>
                </a:cubicBezTo>
                <a:cubicBezTo>
                  <a:pt x="97" y="18"/>
                  <a:pt x="100" y="9"/>
                  <a:pt x="100" y="0"/>
                </a:cubicBezTo>
                <a:cubicBezTo>
                  <a:pt x="70" y="23"/>
                  <a:pt x="36" y="39"/>
                  <a:pt x="0" y="48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18" name="Freeform 71">
            <a:extLst>
              <a:ext uri="{FF2B5EF4-FFF2-40B4-BE49-F238E27FC236}">
                <a16:creationId xmlns:a16="http://schemas.microsoft.com/office/drawing/2014/main" id="{ABDC6FA5-9B2F-0C2C-0DE1-957E41731EF4}"/>
              </a:ext>
            </a:extLst>
          </p:cNvPr>
          <p:cNvSpPr>
            <a:spLocks/>
          </p:cNvSpPr>
          <p:nvPr/>
        </p:nvSpPr>
        <p:spPr bwMode="auto">
          <a:xfrm rot="1617876" flipV="1">
            <a:off x="6900709" y="2075546"/>
            <a:ext cx="1358797" cy="1824467"/>
          </a:xfrm>
          <a:custGeom>
            <a:avLst/>
            <a:gdLst>
              <a:gd name="T0" fmla="*/ 170 w 213"/>
              <a:gd name="T1" fmla="*/ 167 h 286"/>
              <a:gd name="T2" fmla="*/ 210 w 213"/>
              <a:gd name="T3" fmla="*/ 0 h 286"/>
              <a:gd name="T4" fmla="*/ 202 w 213"/>
              <a:gd name="T5" fmla="*/ 31 h 286"/>
              <a:gd name="T6" fmla="*/ 201 w 213"/>
              <a:gd name="T7" fmla="*/ 32 h 286"/>
              <a:gd name="T8" fmla="*/ 181 w 213"/>
              <a:gd name="T9" fmla="*/ 53 h 286"/>
              <a:gd name="T10" fmla="*/ 113 w 213"/>
              <a:gd name="T11" fmla="*/ 55 h 286"/>
              <a:gd name="T12" fmla="*/ 19 w 213"/>
              <a:gd name="T13" fmla="*/ 80 h 286"/>
              <a:gd name="T14" fmla="*/ 44 w 213"/>
              <a:gd name="T15" fmla="*/ 174 h 286"/>
              <a:gd name="T16" fmla="*/ 76 w 213"/>
              <a:gd name="T17" fmla="*/ 234 h 286"/>
              <a:gd name="T18" fmla="*/ 68 w 213"/>
              <a:gd name="T19" fmla="*/ 262 h 286"/>
              <a:gd name="T20" fmla="*/ 67 w 213"/>
              <a:gd name="T21" fmla="*/ 263 h 286"/>
              <a:gd name="T22" fmla="*/ 45 w 213"/>
              <a:gd name="T23" fmla="*/ 286 h 286"/>
              <a:gd name="T24" fmla="*/ 170 w 213"/>
              <a:gd name="T25" fmla="*/ 167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3" h="286">
                <a:moveTo>
                  <a:pt x="170" y="167"/>
                </a:moveTo>
                <a:cubicBezTo>
                  <a:pt x="200" y="115"/>
                  <a:pt x="213" y="56"/>
                  <a:pt x="210" y="0"/>
                </a:cubicBezTo>
                <a:cubicBezTo>
                  <a:pt x="210" y="10"/>
                  <a:pt x="207" y="21"/>
                  <a:pt x="202" y="31"/>
                </a:cubicBezTo>
                <a:cubicBezTo>
                  <a:pt x="201" y="31"/>
                  <a:pt x="201" y="31"/>
                  <a:pt x="201" y="32"/>
                </a:cubicBezTo>
                <a:cubicBezTo>
                  <a:pt x="196" y="41"/>
                  <a:pt x="189" y="48"/>
                  <a:pt x="181" y="53"/>
                </a:cubicBezTo>
                <a:cubicBezTo>
                  <a:pt x="161" y="66"/>
                  <a:pt x="135" y="68"/>
                  <a:pt x="113" y="55"/>
                </a:cubicBezTo>
                <a:cubicBezTo>
                  <a:pt x="80" y="36"/>
                  <a:pt x="38" y="48"/>
                  <a:pt x="19" y="80"/>
                </a:cubicBezTo>
                <a:cubicBezTo>
                  <a:pt x="0" y="113"/>
                  <a:pt x="12" y="155"/>
                  <a:pt x="44" y="174"/>
                </a:cubicBezTo>
                <a:cubicBezTo>
                  <a:pt x="66" y="187"/>
                  <a:pt x="78" y="211"/>
                  <a:pt x="76" y="234"/>
                </a:cubicBezTo>
                <a:cubicBezTo>
                  <a:pt x="76" y="244"/>
                  <a:pt x="73" y="253"/>
                  <a:pt x="68" y="262"/>
                </a:cubicBezTo>
                <a:cubicBezTo>
                  <a:pt x="68" y="262"/>
                  <a:pt x="68" y="263"/>
                  <a:pt x="67" y="263"/>
                </a:cubicBezTo>
                <a:cubicBezTo>
                  <a:pt x="61" y="273"/>
                  <a:pt x="54" y="280"/>
                  <a:pt x="45" y="286"/>
                </a:cubicBezTo>
                <a:cubicBezTo>
                  <a:pt x="95" y="260"/>
                  <a:pt x="139" y="220"/>
                  <a:pt x="170" y="16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19" name="Freeform 72">
            <a:extLst>
              <a:ext uri="{FF2B5EF4-FFF2-40B4-BE49-F238E27FC236}">
                <a16:creationId xmlns:a16="http://schemas.microsoft.com/office/drawing/2014/main" id="{AC053A7E-D222-E045-DA6A-023CBD3E20C9}"/>
              </a:ext>
            </a:extLst>
          </p:cNvPr>
          <p:cNvSpPr>
            <a:spLocks/>
          </p:cNvSpPr>
          <p:nvPr/>
        </p:nvSpPr>
        <p:spPr bwMode="auto">
          <a:xfrm rot="1617876" flipV="1">
            <a:off x="7520281" y="3719435"/>
            <a:ext cx="294406" cy="709122"/>
          </a:xfrm>
          <a:custGeom>
            <a:avLst/>
            <a:gdLst>
              <a:gd name="T0" fmla="*/ 8 w 46"/>
              <a:gd name="T1" fmla="*/ 111 h 111"/>
              <a:gd name="T2" fmla="*/ 28 w 46"/>
              <a:gd name="T3" fmla="*/ 90 h 111"/>
              <a:gd name="T4" fmla="*/ 4 w 46"/>
              <a:gd name="T5" fmla="*/ 2 h 111"/>
              <a:gd name="T6" fmla="*/ 0 w 46"/>
              <a:gd name="T7" fmla="*/ 0 h 111"/>
              <a:gd name="T8" fmla="*/ 8 w 46"/>
              <a:gd name="T9" fmla="*/ 11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" h="111">
                <a:moveTo>
                  <a:pt x="8" y="111"/>
                </a:moveTo>
                <a:cubicBezTo>
                  <a:pt x="16" y="106"/>
                  <a:pt x="23" y="99"/>
                  <a:pt x="28" y="90"/>
                </a:cubicBezTo>
                <a:cubicBezTo>
                  <a:pt x="46" y="59"/>
                  <a:pt x="35" y="20"/>
                  <a:pt x="4" y="2"/>
                </a:cubicBezTo>
                <a:cubicBezTo>
                  <a:pt x="3" y="1"/>
                  <a:pt x="1" y="0"/>
                  <a:pt x="0" y="0"/>
                </a:cubicBezTo>
                <a:cubicBezTo>
                  <a:pt x="10" y="35"/>
                  <a:pt x="13" y="73"/>
                  <a:pt x="8" y="111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grpSp>
        <p:nvGrpSpPr>
          <p:cNvPr id="20" name="ZenIcon1">
            <a:extLst>
              <a:ext uri="{FF2B5EF4-FFF2-40B4-BE49-F238E27FC236}">
                <a16:creationId xmlns:a16="http://schemas.microsoft.com/office/drawing/2014/main" id="{0469126B-5411-65AB-005F-716E06C2BBF9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7129125" y="2870085"/>
            <a:ext cx="405928" cy="405928"/>
            <a:chOff x="5712408" y="975680"/>
            <a:chExt cx="671729" cy="639391"/>
          </a:xfrm>
        </p:grpSpPr>
        <p:sp>
          <p:nvSpPr>
            <p:cNvPr id="21" name="Freeform 26">
              <a:extLst>
                <a:ext uri="{FF2B5EF4-FFF2-40B4-BE49-F238E27FC236}">
                  <a16:creationId xmlns:a16="http://schemas.microsoft.com/office/drawing/2014/main" id="{7AA67F3D-C3B4-9333-9F85-CC0935329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2" name="Freeform 27">
              <a:extLst>
                <a:ext uri="{FF2B5EF4-FFF2-40B4-BE49-F238E27FC236}">
                  <a16:creationId xmlns:a16="http://schemas.microsoft.com/office/drawing/2014/main" id="{743DB29F-D598-7E58-B114-71603556F1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3" name="Freeform 28">
              <a:extLst>
                <a:ext uri="{FF2B5EF4-FFF2-40B4-BE49-F238E27FC236}">
                  <a16:creationId xmlns:a16="http://schemas.microsoft.com/office/drawing/2014/main" id="{768E67DB-6B6B-D045-4B34-2B4A6FBE8F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4" name="Freeform 29">
              <a:extLst>
                <a:ext uri="{FF2B5EF4-FFF2-40B4-BE49-F238E27FC236}">
                  <a16:creationId xmlns:a16="http://schemas.microsoft.com/office/drawing/2014/main" id="{FDD7DE2D-47C6-A91D-CF7A-08EAD516B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5" name="Freeform 30">
              <a:extLst>
                <a:ext uri="{FF2B5EF4-FFF2-40B4-BE49-F238E27FC236}">
                  <a16:creationId xmlns:a16="http://schemas.microsoft.com/office/drawing/2014/main" id="{0D412B04-9367-40FB-047B-8CC01A94B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A7745B7B-DEB3-6EBF-3A3E-51BB25F95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72627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5</TotalTime>
  <Words>43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Lato Light</vt:lpstr>
      <vt:lpstr>Open Sans ExtraBold</vt:lpstr>
      <vt:lpstr>Wingdings</vt:lpstr>
      <vt:lpstr>Office Theme</vt:lpstr>
      <vt:lpstr>think-cell Slide</vt:lpstr>
      <vt:lpstr>2 Facto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64</cp:revision>
  <dcterms:created xsi:type="dcterms:W3CDTF">2021-03-31T02:49:57Z</dcterms:created>
  <dcterms:modified xsi:type="dcterms:W3CDTF">2025-10-15T08:28:55Z</dcterms:modified>
  <cp:category/>
</cp:coreProperties>
</file>